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7" r:id="rId4"/>
  </p:sldMasterIdLst>
  <p:notesMasterIdLst>
    <p:notesMasterId r:id="rId11"/>
  </p:notesMasterIdLst>
  <p:handoutMasterIdLst>
    <p:handoutMasterId r:id="rId12"/>
  </p:handoutMasterIdLst>
  <p:sldIdLst>
    <p:sldId id="950" r:id="rId5"/>
    <p:sldId id="951" r:id="rId6"/>
    <p:sldId id="952" r:id="rId7"/>
    <p:sldId id="953" r:id="rId8"/>
    <p:sldId id="954" r:id="rId9"/>
    <p:sldId id="955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yne-Pietschmann, Julius (A-GKST)" initials="HJ(" lastIdx="1" clrIdx="0">
    <p:extLst>
      <p:ext uri="{19B8F6BF-5375-455C-9EA6-DF929625EA0E}">
        <p15:presenceInfo xmlns:p15="http://schemas.microsoft.com/office/powerpoint/2012/main" userId="S-1-5-21-8915387-466359577-720635935-2286920" providerId="AD"/>
      </p:ext>
    </p:extLst>
  </p:cmAuthor>
  <p:cmAuthor id="2" name="tom b" initials="tb" lastIdx="1" clrIdx="1">
    <p:extLst>
      <p:ext uri="{19B8F6BF-5375-455C-9EA6-DF929625EA0E}">
        <p15:presenceInfo xmlns:p15="http://schemas.microsoft.com/office/powerpoint/2012/main" userId="139939e785252506" providerId="Windows Live"/>
      </p:ext>
    </p:extLst>
  </p:cmAuthor>
  <p:cmAuthor id="3" name="Alexandra Pillasch" initials="AP" lastIdx="0" clrIdx="2">
    <p:extLst>
      <p:ext uri="{19B8F6BF-5375-455C-9EA6-DF929625EA0E}">
        <p15:presenceInfo xmlns:p15="http://schemas.microsoft.com/office/powerpoint/2012/main" userId="Alexandra Pilla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516063"/>
    <a:srgbClr val="D1D5D6"/>
    <a:srgbClr val="E6EFF4"/>
    <a:srgbClr val="F1F7F9"/>
    <a:srgbClr val="CCDFE9"/>
    <a:srgbClr val="FFFFFF"/>
    <a:srgbClr val="F2F6F7"/>
    <a:srgbClr val="EDECE7"/>
    <a:srgbClr val="C6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668DEB-A054-4C46-A675-05697210209E}" v="7" dt="2023-05-17T08:49:39.5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2157" autoAdjust="0"/>
  </p:normalViewPr>
  <p:slideViewPr>
    <p:cSldViewPr snapToGrid="0">
      <p:cViewPr varScale="1">
        <p:scale>
          <a:sx n="116" d="100"/>
          <a:sy n="116" d="100"/>
        </p:scale>
        <p:origin x="714" y="108"/>
      </p:cViewPr>
      <p:guideLst/>
    </p:cSldViewPr>
  </p:slideViewPr>
  <p:outlineViewPr>
    <p:cViewPr>
      <p:scale>
        <a:sx n="33" d="100"/>
        <a:sy n="33" d="100"/>
      </p:scale>
      <p:origin x="0" y="-885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84"/>
    </p:cViewPr>
  </p:sorterViewPr>
  <p:notesViewPr>
    <p:cSldViewPr snapToGrid="0" showGuides="1">
      <p:cViewPr varScale="1">
        <p:scale>
          <a:sx n="63" d="100"/>
          <a:sy n="63" d="100"/>
        </p:scale>
        <p:origin x="3134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53E27E8-929A-4AC7-9CA6-830AFFC3DD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1B5957-B673-4EEE-97B7-78E7BA3C09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4EBBBB-9294-4A0C-9DB6-F05A2F4ED8CF}" type="datetimeFigureOut">
              <a:rPr lang="de-DE" smtClean="0"/>
              <a:t>06.06.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49D929-54FA-4A27-8CB3-EF60DB12FB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7DEEAD-84FE-4319-AB0B-B1758F652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C7FFFE-D13F-4FCE-B853-09B194B15F9B}" type="slidenum">
              <a:rPr lang="en-GB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449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81845-CAAC-444E-9C1A-DA245844C0B9}" type="datetimeFigureOut">
              <a:rPr lang="de-DE" smtClean="0"/>
              <a:t>06.06.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82359-0B5B-6F49-B1D5-8AA10FF3D794}" type="slidenum">
              <a:rPr lang="de-DE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29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3"/>
            <a:ext cx="11380788" cy="49670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8BC92E-19ED-4772-B493-5FF4C8AE74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69841347-BADE-46D4-BE0A-DBB100407CD0}" type="datetime1">
              <a:rPr lang="de-DE" smtClean="0"/>
              <a:t>06.06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87296-C834-44D1-A096-F04851BBAE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05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42F5351-3864-4254-AFCA-7A2815EF0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293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407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6F9EF73C-6EF2-4F0D-B0B6-4471060B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2ED226C-0C2B-4684-994F-9251ADA26B73}" type="datetime1">
              <a:rPr lang="de-DE" smtClean="0"/>
              <a:t>06.06.2023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1912" y="6704812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>
            <a:cxnSpLocks/>
          </p:cNvCxnSpPr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30" name="Titel 6">
            <a:extLst>
              <a:ext uri="{FF2B5EF4-FFF2-40B4-BE49-F238E27FC236}">
                <a16:creationId xmlns:a16="http://schemas.microsoft.com/office/drawing/2014/main" id="{496D11EB-E2CC-4A21-B749-E254AC06D3ED}"/>
              </a:ext>
            </a:extLst>
          </p:cNvPr>
          <p:cNvSpPr txBox="1">
            <a:spLocks/>
          </p:cNvSpPr>
          <p:nvPr userDrawn="1"/>
        </p:nvSpPr>
        <p:spPr>
          <a:xfrm>
            <a:off x="406401" y="408271"/>
            <a:ext cx="7315862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000" b="0" i="0" spc="300" dirty="0">
                <a:solidFill>
                  <a:schemeClr val="accent4"/>
                </a:solidFill>
                <a:latin typeface="VWAG TheSans" panose="020B0502050302020203" pitchFamily="34" charset="0"/>
              </a:rPr>
              <a:t>VOLKSWAGEN GROUP SERVICES</a:t>
            </a:r>
            <a:r>
              <a:rPr lang="de-DE" sz="1000" b="0" i="0" spc="300" baseline="0" dirty="0">
                <a:solidFill>
                  <a:schemeClr val="accent4"/>
                </a:solidFill>
                <a:latin typeface="VWAG TheSans" panose="020B0502050302020203" pitchFamily="34" charset="0"/>
              </a:rPr>
              <a:t> GMBH</a:t>
            </a:r>
            <a:endParaRPr lang="de-DE" sz="1000" b="0" i="0" spc="300" dirty="0">
              <a:solidFill>
                <a:schemeClr val="accent4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5EF5110-A6C7-48D0-AA0C-BAF58A6383E9}"/>
              </a:ext>
            </a:extLst>
          </p:cNvPr>
          <p:cNvGrpSpPr/>
          <p:nvPr userDrawn="1"/>
        </p:nvGrpSpPr>
        <p:grpSpPr>
          <a:xfrm>
            <a:off x="10272618" y="215782"/>
            <a:ext cx="1333162" cy="274229"/>
            <a:chOff x="1876761" y="2475875"/>
            <a:chExt cx="9214770" cy="1895462"/>
          </a:xfrm>
          <a:solidFill>
            <a:schemeClr val="bg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BA4FB43-DE83-4A5E-B658-FD38FF0FC092}"/>
                </a:ext>
              </a:extLst>
            </p:cNvPr>
            <p:cNvSpPr/>
            <p:nvPr/>
          </p:nvSpPr>
          <p:spPr>
            <a:xfrm>
              <a:off x="4156975" y="4050135"/>
              <a:ext cx="258235" cy="320715"/>
            </a:xfrm>
            <a:custGeom>
              <a:avLst/>
              <a:gdLst>
                <a:gd name="connsiteX0" fmla="*/ 258236 w 258235"/>
                <a:gd name="connsiteY0" fmla="*/ 302680 h 320715"/>
                <a:gd name="connsiteX1" fmla="*/ 155035 w 258235"/>
                <a:gd name="connsiteY1" fmla="*/ 320715 h 320715"/>
                <a:gd name="connsiteX2" fmla="*/ 0 w 258235"/>
                <a:gd name="connsiteY2" fmla="*/ 166618 h 320715"/>
                <a:gd name="connsiteX3" fmla="*/ 167987 w 258235"/>
                <a:gd name="connsiteY3" fmla="*/ 0 h 320715"/>
                <a:gd name="connsiteX4" fmla="*/ 247582 w 258235"/>
                <a:gd name="connsiteY4" fmla="*/ 11095 h 320715"/>
                <a:gd name="connsiteX5" fmla="*/ 247582 w 258235"/>
                <a:gd name="connsiteY5" fmla="*/ 52735 h 320715"/>
                <a:gd name="connsiteX6" fmla="*/ 163813 w 258235"/>
                <a:gd name="connsiteY6" fmla="*/ 36538 h 320715"/>
                <a:gd name="connsiteX7" fmla="*/ 45345 w 258235"/>
                <a:gd name="connsiteY7" fmla="*/ 160569 h 320715"/>
                <a:gd name="connsiteX8" fmla="*/ 161037 w 258235"/>
                <a:gd name="connsiteY8" fmla="*/ 283680 h 320715"/>
                <a:gd name="connsiteX9" fmla="*/ 216117 w 258235"/>
                <a:gd name="connsiteY9" fmla="*/ 275361 h 320715"/>
                <a:gd name="connsiteX10" fmla="*/ 216117 w 258235"/>
                <a:gd name="connsiteY10" fmla="*/ 157333 h 320715"/>
                <a:gd name="connsiteX11" fmla="*/ 258227 w 258235"/>
                <a:gd name="connsiteY11" fmla="*/ 157333 h 320715"/>
                <a:gd name="connsiteX12" fmla="*/ 258227 w 258235"/>
                <a:gd name="connsiteY12" fmla="*/ 302680 h 320715"/>
                <a:gd name="connsiteX13" fmla="*/ 258236 w 258235"/>
                <a:gd name="connsiteY13" fmla="*/ 302680 h 32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235" h="320715">
                  <a:moveTo>
                    <a:pt x="258236" y="302680"/>
                  </a:moveTo>
                  <a:cubicBezTo>
                    <a:pt x="227212" y="314235"/>
                    <a:pt x="189276" y="320715"/>
                    <a:pt x="155035" y="320715"/>
                  </a:cubicBezTo>
                  <a:cubicBezTo>
                    <a:pt x="57387" y="320715"/>
                    <a:pt x="0" y="261950"/>
                    <a:pt x="0" y="166618"/>
                  </a:cubicBezTo>
                  <a:cubicBezTo>
                    <a:pt x="0" y="69888"/>
                    <a:pt x="57387" y="0"/>
                    <a:pt x="167987" y="0"/>
                  </a:cubicBezTo>
                  <a:cubicBezTo>
                    <a:pt x="194828" y="0"/>
                    <a:pt x="223526" y="4614"/>
                    <a:pt x="247582" y="11095"/>
                  </a:cubicBezTo>
                  <a:lnTo>
                    <a:pt x="247582" y="52735"/>
                  </a:lnTo>
                  <a:cubicBezTo>
                    <a:pt x="221210" y="42090"/>
                    <a:pt x="190664" y="36538"/>
                    <a:pt x="163813" y="36538"/>
                  </a:cubicBezTo>
                  <a:cubicBezTo>
                    <a:pt x="79604" y="36538"/>
                    <a:pt x="45345" y="95773"/>
                    <a:pt x="45345" y="160569"/>
                  </a:cubicBezTo>
                  <a:cubicBezTo>
                    <a:pt x="45345" y="238325"/>
                    <a:pt x="88392" y="283680"/>
                    <a:pt x="161037" y="283680"/>
                  </a:cubicBezTo>
                  <a:cubicBezTo>
                    <a:pt x="181858" y="283680"/>
                    <a:pt x="199452" y="280444"/>
                    <a:pt x="216117" y="275361"/>
                  </a:cubicBezTo>
                  <a:lnTo>
                    <a:pt x="216117" y="157333"/>
                  </a:lnTo>
                  <a:lnTo>
                    <a:pt x="258227" y="157333"/>
                  </a:lnTo>
                  <a:lnTo>
                    <a:pt x="258227" y="302680"/>
                  </a:lnTo>
                  <a:lnTo>
                    <a:pt x="258236" y="302680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4D12FE4-1771-4007-B0C1-BADE09CE193A}"/>
                </a:ext>
              </a:extLst>
            </p:cNvPr>
            <p:cNvSpPr/>
            <p:nvPr/>
          </p:nvSpPr>
          <p:spPr>
            <a:xfrm>
              <a:off x="4603061" y="4052423"/>
              <a:ext cx="212431" cy="314253"/>
            </a:xfrm>
            <a:custGeom>
              <a:avLst/>
              <a:gdLst>
                <a:gd name="connsiteX0" fmla="*/ 159659 w 212431"/>
                <a:gd name="connsiteY0" fmla="*/ 314253 h 314253"/>
                <a:gd name="connsiteX1" fmla="*/ 65255 w 212431"/>
                <a:gd name="connsiteY1" fmla="*/ 179119 h 314253"/>
                <a:gd name="connsiteX2" fmla="*/ 42587 w 212431"/>
                <a:gd name="connsiteY2" fmla="*/ 179119 h 314253"/>
                <a:gd name="connsiteX3" fmla="*/ 42587 w 212431"/>
                <a:gd name="connsiteY3" fmla="*/ 314253 h 314253"/>
                <a:gd name="connsiteX4" fmla="*/ 0 w 212431"/>
                <a:gd name="connsiteY4" fmla="*/ 314253 h 314253"/>
                <a:gd name="connsiteX5" fmla="*/ 0 w 212431"/>
                <a:gd name="connsiteY5" fmla="*/ 2326 h 314253"/>
                <a:gd name="connsiteX6" fmla="*/ 81461 w 212431"/>
                <a:gd name="connsiteY6" fmla="*/ 0 h 314253"/>
                <a:gd name="connsiteX7" fmla="*/ 191142 w 212431"/>
                <a:gd name="connsiteY7" fmla="*/ 85175 h 314253"/>
                <a:gd name="connsiteX8" fmla="*/ 109222 w 212431"/>
                <a:gd name="connsiteY8" fmla="*/ 173558 h 314253"/>
                <a:gd name="connsiteX9" fmla="*/ 134684 w 212431"/>
                <a:gd name="connsiteY9" fmla="*/ 206898 h 314253"/>
                <a:gd name="connsiteX10" fmla="*/ 212432 w 212431"/>
                <a:gd name="connsiteY10" fmla="*/ 314253 h 314253"/>
                <a:gd name="connsiteX11" fmla="*/ 159659 w 212431"/>
                <a:gd name="connsiteY11" fmla="*/ 314253 h 314253"/>
                <a:gd name="connsiteX12" fmla="*/ 159659 w 212431"/>
                <a:gd name="connsiteY12" fmla="*/ 314253 h 314253"/>
                <a:gd name="connsiteX13" fmla="*/ 42587 w 212431"/>
                <a:gd name="connsiteY13" fmla="*/ 146745 h 314253"/>
                <a:gd name="connsiteX14" fmla="*/ 75909 w 212431"/>
                <a:gd name="connsiteY14" fmla="*/ 147186 h 314253"/>
                <a:gd name="connsiteX15" fmla="*/ 146716 w 212431"/>
                <a:gd name="connsiteY15" fmla="*/ 90277 h 314253"/>
                <a:gd name="connsiteX16" fmla="*/ 77757 w 212431"/>
                <a:gd name="connsiteY16" fmla="*/ 34747 h 314253"/>
                <a:gd name="connsiteX17" fmla="*/ 42587 w 212431"/>
                <a:gd name="connsiteY17" fmla="*/ 35676 h 314253"/>
                <a:gd name="connsiteX18" fmla="*/ 42587 w 21243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31" h="314253">
                  <a:moveTo>
                    <a:pt x="159659" y="314253"/>
                  </a:moveTo>
                  <a:lnTo>
                    <a:pt x="65255" y="179119"/>
                  </a:lnTo>
                  <a:lnTo>
                    <a:pt x="42587" y="179119"/>
                  </a:lnTo>
                  <a:lnTo>
                    <a:pt x="42587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190" y="0"/>
                    <a:pt x="81461" y="0"/>
                  </a:cubicBezTo>
                  <a:cubicBezTo>
                    <a:pt x="146716" y="0"/>
                    <a:pt x="191142" y="25462"/>
                    <a:pt x="191142" y="85175"/>
                  </a:cubicBezTo>
                  <a:cubicBezTo>
                    <a:pt x="191142" y="139298"/>
                    <a:pt x="153647" y="167068"/>
                    <a:pt x="109222" y="173558"/>
                  </a:cubicBezTo>
                  <a:cubicBezTo>
                    <a:pt x="109222" y="173558"/>
                    <a:pt x="122652" y="189754"/>
                    <a:pt x="134684" y="206898"/>
                  </a:cubicBezTo>
                  <a:lnTo>
                    <a:pt x="212432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7" y="146745"/>
                  </a:moveTo>
                  <a:cubicBezTo>
                    <a:pt x="42587" y="146745"/>
                    <a:pt x="60172" y="147186"/>
                    <a:pt x="75909" y="147186"/>
                  </a:cubicBezTo>
                  <a:cubicBezTo>
                    <a:pt x="121254" y="147186"/>
                    <a:pt x="146716" y="125915"/>
                    <a:pt x="146716" y="90277"/>
                  </a:cubicBezTo>
                  <a:cubicBezTo>
                    <a:pt x="146716" y="54648"/>
                    <a:pt x="122652" y="34747"/>
                    <a:pt x="77757" y="34747"/>
                  </a:cubicBezTo>
                  <a:cubicBezTo>
                    <a:pt x="60632" y="34747"/>
                    <a:pt x="42587" y="35676"/>
                    <a:pt x="42587" y="35676"/>
                  </a:cubicBezTo>
                  <a:lnTo>
                    <a:pt x="42587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CD35A9E-5FBC-466D-994F-F37E329BB421}"/>
                </a:ext>
              </a:extLst>
            </p:cNvPr>
            <p:cNvSpPr/>
            <p:nvPr/>
          </p:nvSpPr>
          <p:spPr>
            <a:xfrm>
              <a:off x="4951958" y="4049684"/>
              <a:ext cx="288782" cy="321653"/>
            </a:xfrm>
            <a:custGeom>
              <a:avLst/>
              <a:gdLst>
                <a:gd name="connsiteX0" fmla="*/ 140218 w 288782"/>
                <a:gd name="connsiteY0" fmla="*/ 321653 h 321653"/>
                <a:gd name="connsiteX1" fmla="*/ 0 w 288782"/>
                <a:gd name="connsiteY1" fmla="*/ 165192 h 321653"/>
                <a:gd name="connsiteX2" fmla="*/ 148564 w 288782"/>
                <a:gd name="connsiteY2" fmla="*/ 0 h 321653"/>
                <a:gd name="connsiteX3" fmla="*/ 288782 w 288782"/>
                <a:gd name="connsiteY3" fmla="*/ 156414 h 321653"/>
                <a:gd name="connsiteX4" fmla="*/ 140218 w 288782"/>
                <a:gd name="connsiteY4" fmla="*/ 321653 h 321653"/>
                <a:gd name="connsiteX5" fmla="*/ 144382 w 288782"/>
                <a:gd name="connsiteY5" fmla="*/ 37486 h 321653"/>
                <a:gd name="connsiteX6" fmla="*/ 44885 w 288782"/>
                <a:gd name="connsiteY6" fmla="*/ 158721 h 321653"/>
                <a:gd name="connsiteX7" fmla="*/ 144382 w 288782"/>
                <a:gd name="connsiteY7" fmla="*/ 284158 h 321653"/>
                <a:gd name="connsiteX8" fmla="*/ 243887 w 288782"/>
                <a:gd name="connsiteY8" fmla="*/ 162876 h 321653"/>
                <a:gd name="connsiteX9" fmla="*/ 144382 w 288782"/>
                <a:gd name="connsiteY9" fmla="*/ 37486 h 3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782" h="321653">
                  <a:moveTo>
                    <a:pt x="140218" y="321653"/>
                  </a:moveTo>
                  <a:cubicBezTo>
                    <a:pt x="49509" y="321653"/>
                    <a:pt x="0" y="261002"/>
                    <a:pt x="0" y="165192"/>
                  </a:cubicBezTo>
                  <a:cubicBezTo>
                    <a:pt x="0" y="58315"/>
                    <a:pt x="68041" y="0"/>
                    <a:pt x="148564" y="0"/>
                  </a:cubicBezTo>
                  <a:cubicBezTo>
                    <a:pt x="239282" y="0"/>
                    <a:pt x="288782" y="60632"/>
                    <a:pt x="288782" y="156414"/>
                  </a:cubicBezTo>
                  <a:cubicBezTo>
                    <a:pt x="288772" y="263319"/>
                    <a:pt x="220741" y="321653"/>
                    <a:pt x="140218" y="321653"/>
                  </a:cubicBezTo>
                  <a:close/>
                  <a:moveTo>
                    <a:pt x="144382" y="37486"/>
                  </a:moveTo>
                  <a:cubicBezTo>
                    <a:pt x="88392" y="37486"/>
                    <a:pt x="44885" y="80054"/>
                    <a:pt x="44885" y="158721"/>
                  </a:cubicBezTo>
                  <a:cubicBezTo>
                    <a:pt x="44885" y="233711"/>
                    <a:pt x="78217" y="284158"/>
                    <a:pt x="144382" y="284158"/>
                  </a:cubicBezTo>
                  <a:cubicBezTo>
                    <a:pt x="200380" y="284158"/>
                    <a:pt x="243887" y="241589"/>
                    <a:pt x="243887" y="162876"/>
                  </a:cubicBezTo>
                  <a:cubicBezTo>
                    <a:pt x="243878" y="87942"/>
                    <a:pt x="210565" y="37486"/>
                    <a:pt x="144382" y="37486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B0D6F53-652C-4885-B18F-1AB4A17259F0}"/>
                </a:ext>
              </a:extLst>
            </p:cNvPr>
            <p:cNvSpPr/>
            <p:nvPr/>
          </p:nvSpPr>
          <p:spPr>
            <a:xfrm>
              <a:off x="5410537" y="4054327"/>
              <a:ext cx="241579" cy="317010"/>
            </a:xfrm>
            <a:custGeom>
              <a:avLst/>
              <a:gdLst>
                <a:gd name="connsiteX0" fmla="*/ 241570 w 241579"/>
                <a:gd name="connsiteY0" fmla="*/ 192962 h 317010"/>
                <a:gd name="connsiteX1" fmla="*/ 117090 w 241579"/>
                <a:gd name="connsiteY1" fmla="*/ 317011 h 317010"/>
                <a:gd name="connsiteX2" fmla="*/ 0 w 241579"/>
                <a:gd name="connsiteY2" fmla="*/ 207330 h 317010"/>
                <a:gd name="connsiteX3" fmla="*/ 0 w 241579"/>
                <a:gd name="connsiteY3" fmla="*/ 0 h 317010"/>
                <a:gd name="connsiteX4" fmla="*/ 42588 w 241579"/>
                <a:gd name="connsiteY4" fmla="*/ 0 h 317010"/>
                <a:gd name="connsiteX5" fmla="*/ 42588 w 241579"/>
                <a:gd name="connsiteY5" fmla="*/ 204113 h 317010"/>
                <a:gd name="connsiteX6" fmla="*/ 119875 w 241579"/>
                <a:gd name="connsiteY6" fmla="*/ 281851 h 317010"/>
                <a:gd name="connsiteX7" fmla="*/ 199939 w 241579"/>
                <a:gd name="connsiteY7" fmla="*/ 196235 h 317010"/>
                <a:gd name="connsiteX8" fmla="*/ 199939 w 241579"/>
                <a:gd name="connsiteY8" fmla="*/ 0 h 317010"/>
                <a:gd name="connsiteX9" fmla="*/ 241580 w 241579"/>
                <a:gd name="connsiteY9" fmla="*/ 0 h 317010"/>
                <a:gd name="connsiteX10" fmla="*/ 241570 w 241579"/>
                <a:gd name="connsiteY10" fmla="*/ 192962 h 317010"/>
                <a:gd name="connsiteX11" fmla="*/ 241570 w 241579"/>
                <a:gd name="connsiteY11" fmla="*/ 192962 h 31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579" h="317010">
                  <a:moveTo>
                    <a:pt x="241570" y="192962"/>
                  </a:moveTo>
                  <a:cubicBezTo>
                    <a:pt x="241570" y="274855"/>
                    <a:pt x="198523" y="317011"/>
                    <a:pt x="117090" y="317011"/>
                  </a:cubicBezTo>
                  <a:cubicBezTo>
                    <a:pt x="19442" y="317011"/>
                    <a:pt x="0" y="262859"/>
                    <a:pt x="0" y="207330"/>
                  </a:cubicBezTo>
                  <a:lnTo>
                    <a:pt x="0" y="0"/>
                  </a:lnTo>
                  <a:lnTo>
                    <a:pt x="42588" y="0"/>
                  </a:lnTo>
                  <a:lnTo>
                    <a:pt x="42588" y="204113"/>
                  </a:lnTo>
                  <a:cubicBezTo>
                    <a:pt x="42588" y="247123"/>
                    <a:pt x="56918" y="281851"/>
                    <a:pt x="119875" y="281851"/>
                  </a:cubicBezTo>
                  <a:cubicBezTo>
                    <a:pt x="174467" y="281851"/>
                    <a:pt x="199939" y="259174"/>
                    <a:pt x="199939" y="196235"/>
                  </a:cubicBezTo>
                  <a:lnTo>
                    <a:pt x="199939" y="0"/>
                  </a:lnTo>
                  <a:lnTo>
                    <a:pt x="241580" y="0"/>
                  </a:lnTo>
                  <a:lnTo>
                    <a:pt x="241570" y="192962"/>
                  </a:lnTo>
                  <a:lnTo>
                    <a:pt x="241570" y="19296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7900445-8D46-457B-9DE9-B0F701446E75}"/>
                </a:ext>
              </a:extLst>
            </p:cNvPr>
            <p:cNvSpPr/>
            <p:nvPr/>
          </p:nvSpPr>
          <p:spPr>
            <a:xfrm>
              <a:off x="5849665" y="4052423"/>
              <a:ext cx="200389" cy="314253"/>
            </a:xfrm>
            <a:custGeom>
              <a:avLst/>
              <a:gdLst>
                <a:gd name="connsiteX0" fmla="*/ 0 w 200389"/>
                <a:gd name="connsiteY0" fmla="*/ 314253 h 314253"/>
                <a:gd name="connsiteX1" fmla="*/ 0 w 200389"/>
                <a:gd name="connsiteY1" fmla="*/ 1866 h 314253"/>
                <a:gd name="connsiteX2" fmla="*/ 81912 w 200389"/>
                <a:gd name="connsiteY2" fmla="*/ 0 h 314253"/>
                <a:gd name="connsiteX3" fmla="*/ 200390 w 200389"/>
                <a:gd name="connsiteY3" fmla="*/ 97199 h 314253"/>
                <a:gd name="connsiteX4" fmla="*/ 75450 w 200389"/>
                <a:gd name="connsiteY4" fmla="*/ 207330 h 314253"/>
                <a:gd name="connsiteX5" fmla="*/ 42588 w 200389"/>
                <a:gd name="connsiteY5" fmla="*/ 205960 h 314253"/>
                <a:gd name="connsiteX6" fmla="*/ 42588 w 200389"/>
                <a:gd name="connsiteY6" fmla="*/ 314253 h 314253"/>
                <a:gd name="connsiteX7" fmla="*/ 0 w 200389"/>
                <a:gd name="connsiteY7" fmla="*/ 314253 h 314253"/>
                <a:gd name="connsiteX8" fmla="*/ 0 w 200389"/>
                <a:gd name="connsiteY8" fmla="*/ 314253 h 314253"/>
                <a:gd name="connsiteX9" fmla="*/ 42578 w 200389"/>
                <a:gd name="connsiteY9" fmla="*/ 169882 h 314253"/>
                <a:gd name="connsiteX10" fmla="*/ 78676 w 200389"/>
                <a:gd name="connsiteY10" fmla="*/ 172648 h 314253"/>
                <a:gd name="connsiteX11" fmla="*/ 156424 w 200389"/>
                <a:gd name="connsiteY11" fmla="*/ 103229 h 314253"/>
                <a:gd name="connsiteX12" fmla="*/ 76829 w 200389"/>
                <a:gd name="connsiteY12" fmla="*/ 34757 h 314253"/>
                <a:gd name="connsiteX13" fmla="*/ 42597 w 200389"/>
                <a:gd name="connsiteY13" fmla="*/ 35676 h 314253"/>
                <a:gd name="connsiteX14" fmla="*/ 42578 w 200389"/>
                <a:gd name="connsiteY14" fmla="*/ 169882 h 314253"/>
                <a:gd name="connsiteX15" fmla="*/ 42578 w 200389"/>
                <a:gd name="connsiteY15" fmla="*/ 169882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389" h="314253">
                  <a:moveTo>
                    <a:pt x="0" y="314253"/>
                  </a:moveTo>
                  <a:lnTo>
                    <a:pt x="0" y="1866"/>
                  </a:lnTo>
                  <a:cubicBezTo>
                    <a:pt x="0" y="1866"/>
                    <a:pt x="44416" y="0"/>
                    <a:pt x="81912" y="0"/>
                  </a:cubicBezTo>
                  <a:cubicBezTo>
                    <a:pt x="163363" y="0"/>
                    <a:pt x="200390" y="43535"/>
                    <a:pt x="200390" y="97199"/>
                  </a:cubicBezTo>
                  <a:cubicBezTo>
                    <a:pt x="200390" y="160118"/>
                    <a:pt x="153188" y="207330"/>
                    <a:pt x="75450" y="207330"/>
                  </a:cubicBezTo>
                  <a:cubicBezTo>
                    <a:pt x="59234" y="207330"/>
                    <a:pt x="42588" y="205960"/>
                    <a:pt x="42588" y="205960"/>
                  </a:cubicBezTo>
                  <a:lnTo>
                    <a:pt x="42588" y="314253"/>
                  </a:lnTo>
                  <a:lnTo>
                    <a:pt x="0" y="314253"/>
                  </a:lnTo>
                  <a:lnTo>
                    <a:pt x="0" y="314253"/>
                  </a:lnTo>
                  <a:close/>
                  <a:moveTo>
                    <a:pt x="42578" y="169882"/>
                  </a:moveTo>
                  <a:cubicBezTo>
                    <a:pt x="42578" y="169882"/>
                    <a:pt x="60631" y="172648"/>
                    <a:pt x="78676" y="172648"/>
                  </a:cubicBezTo>
                  <a:cubicBezTo>
                    <a:pt x="130501" y="172648"/>
                    <a:pt x="156424" y="142590"/>
                    <a:pt x="156424" y="103229"/>
                  </a:cubicBezTo>
                  <a:cubicBezTo>
                    <a:pt x="156424" y="62967"/>
                    <a:pt x="131898" y="34757"/>
                    <a:pt x="76829" y="34757"/>
                  </a:cubicBezTo>
                  <a:cubicBezTo>
                    <a:pt x="60631" y="34757"/>
                    <a:pt x="42597" y="35676"/>
                    <a:pt x="42597" y="35676"/>
                  </a:cubicBezTo>
                  <a:lnTo>
                    <a:pt x="42578" y="169882"/>
                  </a:lnTo>
                  <a:lnTo>
                    <a:pt x="42578" y="16988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ADC91D6-753E-4C50-A63E-DC11CD9FEAFD}"/>
                </a:ext>
              </a:extLst>
            </p:cNvPr>
            <p:cNvSpPr/>
            <p:nvPr/>
          </p:nvSpPr>
          <p:spPr>
            <a:xfrm>
              <a:off x="6397526" y="4050163"/>
              <a:ext cx="187419" cy="320668"/>
            </a:xfrm>
            <a:custGeom>
              <a:avLst/>
              <a:gdLst>
                <a:gd name="connsiteX0" fmla="*/ 163363 w 187419"/>
                <a:gd name="connsiteY0" fmla="*/ 43478 h 320668"/>
                <a:gd name="connsiteX1" fmla="*/ 106896 w 187419"/>
                <a:gd name="connsiteY1" fmla="*/ 35122 h 320668"/>
                <a:gd name="connsiteX2" fmla="*/ 43497 w 187419"/>
                <a:gd name="connsiteY2" fmla="*/ 81874 h 320668"/>
                <a:gd name="connsiteX3" fmla="*/ 187419 w 187419"/>
                <a:gd name="connsiteY3" fmla="*/ 229491 h 320668"/>
                <a:gd name="connsiteX4" fmla="*/ 74962 w 187419"/>
                <a:gd name="connsiteY4" fmla="*/ 320668 h 320668"/>
                <a:gd name="connsiteX5" fmla="*/ 4623 w 187419"/>
                <a:gd name="connsiteY5" fmla="*/ 312350 h 320668"/>
                <a:gd name="connsiteX6" fmla="*/ 4623 w 187419"/>
                <a:gd name="connsiteY6" fmla="*/ 270700 h 320668"/>
                <a:gd name="connsiteX7" fmla="*/ 77278 w 187419"/>
                <a:gd name="connsiteY7" fmla="*/ 284130 h 320668"/>
                <a:gd name="connsiteX8" fmla="*/ 143003 w 187419"/>
                <a:gd name="connsiteY8" fmla="*/ 232745 h 320668"/>
                <a:gd name="connsiteX9" fmla="*/ 0 w 187419"/>
                <a:gd name="connsiteY9" fmla="*/ 85138 h 320668"/>
                <a:gd name="connsiteX10" fmla="*/ 109671 w 187419"/>
                <a:gd name="connsiteY10" fmla="*/ 0 h 320668"/>
                <a:gd name="connsiteX11" fmla="*/ 163363 w 187419"/>
                <a:gd name="connsiteY11" fmla="*/ 5074 h 320668"/>
                <a:gd name="connsiteX12" fmla="*/ 163363 w 187419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9" h="320668">
                  <a:moveTo>
                    <a:pt x="163363" y="43478"/>
                  </a:moveTo>
                  <a:cubicBezTo>
                    <a:pt x="146698" y="38846"/>
                    <a:pt x="124940" y="35122"/>
                    <a:pt x="106896" y="35122"/>
                  </a:cubicBezTo>
                  <a:cubicBezTo>
                    <a:pt x="65255" y="35122"/>
                    <a:pt x="43497" y="52707"/>
                    <a:pt x="43497" y="81874"/>
                  </a:cubicBezTo>
                  <a:cubicBezTo>
                    <a:pt x="43497" y="150356"/>
                    <a:pt x="187419" y="126281"/>
                    <a:pt x="187419" y="229491"/>
                  </a:cubicBezTo>
                  <a:cubicBezTo>
                    <a:pt x="187419" y="281804"/>
                    <a:pt x="148095" y="320668"/>
                    <a:pt x="74962" y="320668"/>
                  </a:cubicBezTo>
                  <a:cubicBezTo>
                    <a:pt x="49519" y="320668"/>
                    <a:pt x="24056" y="317424"/>
                    <a:pt x="4623" y="312350"/>
                  </a:cubicBezTo>
                  <a:lnTo>
                    <a:pt x="4623" y="270700"/>
                  </a:lnTo>
                  <a:cubicBezTo>
                    <a:pt x="24515" y="278578"/>
                    <a:pt x="52304" y="284130"/>
                    <a:pt x="77278" y="284130"/>
                  </a:cubicBezTo>
                  <a:cubicBezTo>
                    <a:pt x="115233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71" y="0"/>
                    <a:pt x="109671" y="0"/>
                  </a:cubicBezTo>
                  <a:cubicBezTo>
                    <a:pt x="127725" y="0"/>
                    <a:pt x="146688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96E7C0A-129A-41C0-9149-DF5C843BD6C4}"/>
                </a:ext>
              </a:extLst>
            </p:cNvPr>
            <p:cNvSpPr/>
            <p:nvPr/>
          </p:nvSpPr>
          <p:spPr>
            <a:xfrm>
              <a:off x="6750607" y="4054289"/>
              <a:ext cx="178640" cy="312387"/>
            </a:xfrm>
            <a:custGeom>
              <a:avLst/>
              <a:gdLst>
                <a:gd name="connsiteX0" fmla="*/ 0 w 178640"/>
                <a:gd name="connsiteY0" fmla="*/ 312387 h 312387"/>
                <a:gd name="connsiteX1" fmla="*/ 0 w 178640"/>
                <a:gd name="connsiteY1" fmla="*/ 0 h 312387"/>
                <a:gd name="connsiteX2" fmla="*/ 176803 w 178640"/>
                <a:gd name="connsiteY2" fmla="*/ 0 h 312387"/>
                <a:gd name="connsiteX3" fmla="*/ 176803 w 178640"/>
                <a:gd name="connsiteY3" fmla="*/ 35179 h 312387"/>
                <a:gd name="connsiteX4" fmla="*/ 42578 w 178640"/>
                <a:gd name="connsiteY4" fmla="*/ 35179 h 312387"/>
                <a:gd name="connsiteX5" fmla="*/ 42578 w 178640"/>
                <a:gd name="connsiteY5" fmla="*/ 134196 h 312387"/>
                <a:gd name="connsiteX6" fmla="*/ 165670 w 178640"/>
                <a:gd name="connsiteY6" fmla="*/ 134196 h 312387"/>
                <a:gd name="connsiteX7" fmla="*/ 165670 w 178640"/>
                <a:gd name="connsiteY7" fmla="*/ 168447 h 312387"/>
                <a:gd name="connsiteX8" fmla="*/ 42578 w 178640"/>
                <a:gd name="connsiteY8" fmla="*/ 168447 h 312387"/>
                <a:gd name="connsiteX9" fmla="*/ 42578 w 178640"/>
                <a:gd name="connsiteY9" fmla="*/ 276740 h 312387"/>
                <a:gd name="connsiteX10" fmla="*/ 178641 w 178640"/>
                <a:gd name="connsiteY10" fmla="*/ 276740 h 312387"/>
                <a:gd name="connsiteX11" fmla="*/ 178641 w 178640"/>
                <a:gd name="connsiteY11" fmla="*/ 312387 h 312387"/>
                <a:gd name="connsiteX12" fmla="*/ 0 w 178640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40" h="312387">
                  <a:moveTo>
                    <a:pt x="0" y="312387"/>
                  </a:moveTo>
                  <a:lnTo>
                    <a:pt x="0" y="0"/>
                  </a:lnTo>
                  <a:lnTo>
                    <a:pt x="176803" y="0"/>
                  </a:lnTo>
                  <a:lnTo>
                    <a:pt x="176803" y="35179"/>
                  </a:lnTo>
                  <a:lnTo>
                    <a:pt x="42578" y="35179"/>
                  </a:lnTo>
                  <a:lnTo>
                    <a:pt x="42578" y="134196"/>
                  </a:lnTo>
                  <a:lnTo>
                    <a:pt x="165670" y="134196"/>
                  </a:lnTo>
                  <a:lnTo>
                    <a:pt x="165670" y="168447"/>
                  </a:lnTo>
                  <a:lnTo>
                    <a:pt x="42578" y="168447"/>
                  </a:lnTo>
                  <a:lnTo>
                    <a:pt x="42578" y="276740"/>
                  </a:lnTo>
                  <a:lnTo>
                    <a:pt x="178641" y="276740"/>
                  </a:lnTo>
                  <a:lnTo>
                    <a:pt x="178641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42C856D-9C65-463F-A4C0-4A3EB6FE39B0}"/>
                </a:ext>
              </a:extLst>
            </p:cNvPr>
            <p:cNvSpPr/>
            <p:nvPr/>
          </p:nvSpPr>
          <p:spPr>
            <a:xfrm>
              <a:off x="7112006" y="4052423"/>
              <a:ext cx="212441" cy="314253"/>
            </a:xfrm>
            <a:custGeom>
              <a:avLst/>
              <a:gdLst>
                <a:gd name="connsiteX0" fmla="*/ 159659 w 212441"/>
                <a:gd name="connsiteY0" fmla="*/ 314253 h 314253"/>
                <a:gd name="connsiteX1" fmla="*/ 65246 w 212441"/>
                <a:gd name="connsiteY1" fmla="*/ 179119 h 314253"/>
                <a:gd name="connsiteX2" fmla="*/ 42588 w 212441"/>
                <a:gd name="connsiteY2" fmla="*/ 179119 h 314253"/>
                <a:gd name="connsiteX3" fmla="*/ 42588 w 212441"/>
                <a:gd name="connsiteY3" fmla="*/ 314253 h 314253"/>
                <a:gd name="connsiteX4" fmla="*/ 0 w 212441"/>
                <a:gd name="connsiteY4" fmla="*/ 314253 h 314253"/>
                <a:gd name="connsiteX5" fmla="*/ 0 w 212441"/>
                <a:gd name="connsiteY5" fmla="*/ 2326 h 314253"/>
                <a:gd name="connsiteX6" fmla="*/ 81462 w 212441"/>
                <a:gd name="connsiteY6" fmla="*/ 0 h 314253"/>
                <a:gd name="connsiteX7" fmla="*/ 191143 w 212441"/>
                <a:gd name="connsiteY7" fmla="*/ 85175 h 314253"/>
                <a:gd name="connsiteX8" fmla="*/ 109231 w 212441"/>
                <a:gd name="connsiteY8" fmla="*/ 173558 h 314253"/>
                <a:gd name="connsiteX9" fmla="*/ 134693 w 212441"/>
                <a:gd name="connsiteY9" fmla="*/ 206898 h 314253"/>
                <a:gd name="connsiteX10" fmla="*/ 212441 w 212441"/>
                <a:gd name="connsiteY10" fmla="*/ 314253 h 314253"/>
                <a:gd name="connsiteX11" fmla="*/ 159659 w 212441"/>
                <a:gd name="connsiteY11" fmla="*/ 314253 h 314253"/>
                <a:gd name="connsiteX12" fmla="*/ 159659 w 212441"/>
                <a:gd name="connsiteY12" fmla="*/ 314253 h 314253"/>
                <a:gd name="connsiteX13" fmla="*/ 42588 w 212441"/>
                <a:gd name="connsiteY13" fmla="*/ 146745 h 314253"/>
                <a:gd name="connsiteX14" fmla="*/ 75900 w 212441"/>
                <a:gd name="connsiteY14" fmla="*/ 147186 h 314253"/>
                <a:gd name="connsiteX15" fmla="*/ 146726 w 212441"/>
                <a:gd name="connsiteY15" fmla="*/ 90277 h 314253"/>
                <a:gd name="connsiteX16" fmla="*/ 77757 w 212441"/>
                <a:gd name="connsiteY16" fmla="*/ 34747 h 314253"/>
                <a:gd name="connsiteX17" fmla="*/ 42588 w 212441"/>
                <a:gd name="connsiteY17" fmla="*/ 35676 h 314253"/>
                <a:gd name="connsiteX18" fmla="*/ 42588 w 21244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41" h="314253">
                  <a:moveTo>
                    <a:pt x="159659" y="314253"/>
                  </a:moveTo>
                  <a:lnTo>
                    <a:pt x="65246" y="179119"/>
                  </a:lnTo>
                  <a:lnTo>
                    <a:pt x="42588" y="179119"/>
                  </a:lnTo>
                  <a:lnTo>
                    <a:pt x="42588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200" y="0"/>
                    <a:pt x="81462" y="0"/>
                  </a:cubicBezTo>
                  <a:cubicBezTo>
                    <a:pt x="146726" y="0"/>
                    <a:pt x="191143" y="25462"/>
                    <a:pt x="191143" y="85175"/>
                  </a:cubicBezTo>
                  <a:cubicBezTo>
                    <a:pt x="191143" y="139298"/>
                    <a:pt x="153647" y="167068"/>
                    <a:pt x="109231" y="173558"/>
                  </a:cubicBezTo>
                  <a:cubicBezTo>
                    <a:pt x="109231" y="173558"/>
                    <a:pt x="122661" y="189754"/>
                    <a:pt x="134693" y="206898"/>
                  </a:cubicBezTo>
                  <a:lnTo>
                    <a:pt x="212441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8" y="146745"/>
                  </a:moveTo>
                  <a:cubicBezTo>
                    <a:pt x="42588" y="146745"/>
                    <a:pt x="60172" y="147186"/>
                    <a:pt x="75900" y="147186"/>
                  </a:cubicBezTo>
                  <a:cubicBezTo>
                    <a:pt x="121254" y="147186"/>
                    <a:pt x="146726" y="125915"/>
                    <a:pt x="146726" y="90277"/>
                  </a:cubicBezTo>
                  <a:cubicBezTo>
                    <a:pt x="146726" y="54648"/>
                    <a:pt x="122661" y="34747"/>
                    <a:pt x="77757" y="34747"/>
                  </a:cubicBezTo>
                  <a:cubicBezTo>
                    <a:pt x="60632" y="34747"/>
                    <a:pt x="42588" y="35676"/>
                    <a:pt x="42588" y="35676"/>
                  </a:cubicBezTo>
                  <a:lnTo>
                    <a:pt x="42588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13F0EDA-0A5B-481E-A14C-C7C464FF65C0}"/>
                </a:ext>
              </a:extLst>
            </p:cNvPr>
            <p:cNvSpPr/>
            <p:nvPr/>
          </p:nvSpPr>
          <p:spPr>
            <a:xfrm>
              <a:off x="7441931" y="4054289"/>
              <a:ext cx="275361" cy="312387"/>
            </a:xfrm>
            <a:custGeom>
              <a:avLst/>
              <a:gdLst>
                <a:gd name="connsiteX0" fmla="*/ 163382 w 275361"/>
                <a:gd name="connsiteY0" fmla="*/ 312387 h 312387"/>
                <a:gd name="connsiteX1" fmla="*/ 111538 w 275361"/>
                <a:gd name="connsiteY1" fmla="*/ 312387 h 312387"/>
                <a:gd name="connsiteX2" fmla="*/ 0 w 275361"/>
                <a:gd name="connsiteY2" fmla="*/ 0 h 312387"/>
                <a:gd name="connsiteX3" fmla="*/ 47661 w 275361"/>
                <a:gd name="connsiteY3" fmla="*/ 0 h 312387"/>
                <a:gd name="connsiteX4" fmla="*/ 117522 w 275361"/>
                <a:gd name="connsiteY4" fmla="*/ 203175 h 312387"/>
                <a:gd name="connsiteX5" fmla="*/ 138351 w 275361"/>
                <a:gd name="connsiteY5" fmla="*/ 271206 h 312387"/>
                <a:gd name="connsiteX6" fmla="*/ 138867 w 275361"/>
                <a:gd name="connsiteY6" fmla="*/ 271206 h 312387"/>
                <a:gd name="connsiteX7" fmla="*/ 160568 w 275361"/>
                <a:gd name="connsiteY7" fmla="*/ 201309 h 312387"/>
                <a:gd name="connsiteX8" fmla="*/ 230917 w 275361"/>
                <a:gd name="connsiteY8" fmla="*/ 0 h 312387"/>
                <a:gd name="connsiteX9" fmla="*/ 275361 w 275361"/>
                <a:gd name="connsiteY9" fmla="*/ 0 h 312387"/>
                <a:gd name="connsiteX10" fmla="*/ 163382 w 275361"/>
                <a:gd name="connsiteY10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61" h="312387">
                  <a:moveTo>
                    <a:pt x="163382" y="312387"/>
                  </a:moveTo>
                  <a:lnTo>
                    <a:pt x="111538" y="312387"/>
                  </a:lnTo>
                  <a:lnTo>
                    <a:pt x="0" y="0"/>
                  </a:lnTo>
                  <a:lnTo>
                    <a:pt x="47661" y="0"/>
                  </a:lnTo>
                  <a:lnTo>
                    <a:pt x="117522" y="203175"/>
                  </a:lnTo>
                  <a:cubicBezTo>
                    <a:pt x="124499" y="222598"/>
                    <a:pt x="132349" y="248989"/>
                    <a:pt x="138351" y="271206"/>
                  </a:cubicBezTo>
                  <a:lnTo>
                    <a:pt x="138867" y="271206"/>
                  </a:lnTo>
                  <a:cubicBezTo>
                    <a:pt x="144869" y="249908"/>
                    <a:pt x="152710" y="224005"/>
                    <a:pt x="160568" y="201309"/>
                  </a:cubicBezTo>
                  <a:lnTo>
                    <a:pt x="230917" y="0"/>
                  </a:lnTo>
                  <a:lnTo>
                    <a:pt x="275361" y="0"/>
                  </a:lnTo>
                  <a:lnTo>
                    <a:pt x="163382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247680D-5C43-49D3-8704-F2547BAC55C0}"/>
                </a:ext>
              </a:extLst>
            </p:cNvPr>
            <p:cNvSpPr/>
            <p:nvPr/>
          </p:nvSpPr>
          <p:spPr>
            <a:xfrm>
              <a:off x="7861617" y="4054289"/>
              <a:ext cx="42606" cy="312387"/>
            </a:xfrm>
            <a:custGeom>
              <a:avLst/>
              <a:gdLst>
                <a:gd name="connsiteX0" fmla="*/ 0 w 42606"/>
                <a:gd name="connsiteY0" fmla="*/ 312387 h 312387"/>
                <a:gd name="connsiteX1" fmla="*/ 0 w 42606"/>
                <a:gd name="connsiteY1" fmla="*/ 0 h 312387"/>
                <a:gd name="connsiteX2" fmla="*/ 42607 w 42606"/>
                <a:gd name="connsiteY2" fmla="*/ 0 h 312387"/>
                <a:gd name="connsiteX3" fmla="*/ 42607 w 42606"/>
                <a:gd name="connsiteY3" fmla="*/ 312387 h 312387"/>
                <a:gd name="connsiteX4" fmla="*/ 0 w 42606"/>
                <a:gd name="connsiteY4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06" h="312387">
                  <a:moveTo>
                    <a:pt x="0" y="312387"/>
                  </a:moveTo>
                  <a:lnTo>
                    <a:pt x="0" y="0"/>
                  </a:lnTo>
                  <a:lnTo>
                    <a:pt x="42607" y="0"/>
                  </a:lnTo>
                  <a:lnTo>
                    <a:pt x="42607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D2C90186-CCFA-4DBE-A0D5-8DB0D72A111F}"/>
                </a:ext>
              </a:extLst>
            </p:cNvPr>
            <p:cNvSpPr/>
            <p:nvPr/>
          </p:nvSpPr>
          <p:spPr>
            <a:xfrm>
              <a:off x="8068928" y="4051513"/>
              <a:ext cx="224464" cy="318886"/>
            </a:xfrm>
            <a:custGeom>
              <a:avLst/>
              <a:gdLst>
                <a:gd name="connsiteX0" fmla="*/ 224464 w 224464"/>
                <a:gd name="connsiteY0" fmla="*/ 306385 h 318886"/>
                <a:gd name="connsiteX1" fmla="*/ 139777 w 224464"/>
                <a:gd name="connsiteY1" fmla="*/ 318886 h 318886"/>
                <a:gd name="connsiteX2" fmla="*/ 0 w 224464"/>
                <a:gd name="connsiteY2" fmla="*/ 166158 h 318886"/>
                <a:gd name="connsiteX3" fmla="*/ 150412 w 224464"/>
                <a:gd name="connsiteY3" fmla="*/ 0 h 318886"/>
                <a:gd name="connsiteX4" fmla="*/ 220760 w 224464"/>
                <a:gd name="connsiteY4" fmla="*/ 10682 h 318886"/>
                <a:gd name="connsiteX5" fmla="*/ 220760 w 224464"/>
                <a:gd name="connsiteY5" fmla="*/ 52763 h 318886"/>
                <a:gd name="connsiteX6" fmla="*/ 144888 w 224464"/>
                <a:gd name="connsiteY6" fmla="*/ 36557 h 318886"/>
                <a:gd name="connsiteX7" fmla="*/ 45833 w 224464"/>
                <a:gd name="connsiteY7" fmla="*/ 161516 h 318886"/>
                <a:gd name="connsiteX8" fmla="*/ 147636 w 224464"/>
                <a:gd name="connsiteY8" fmla="*/ 280904 h 318886"/>
                <a:gd name="connsiteX9" fmla="*/ 224445 w 224464"/>
                <a:gd name="connsiteY9" fmla="*/ 268421 h 318886"/>
                <a:gd name="connsiteX10" fmla="*/ 224464 w 224464"/>
                <a:gd name="connsiteY10" fmla="*/ 306385 h 318886"/>
                <a:gd name="connsiteX11" fmla="*/ 224464 w 224464"/>
                <a:gd name="connsiteY11" fmla="*/ 306385 h 31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464" h="318886">
                  <a:moveTo>
                    <a:pt x="224464" y="306385"/>
                  </a:moveTo>
                  <a:cubicBezTo>
                    <a:pt x="199002" y="313775"/>
                    <a:pt x="170341" y="318886"/>
                    <a:pt x="139777" y="318886"/>
                  </a:cubicBezTo>
                  <a:cubicBezTo>
                    <a:pt x="42128" y="318886"/>
                    <a:pt x="0" y="255938"/>
                    <a:pt x="0" y="166158"/>
                  </a:cubicBezTo>
                  <a:cubicBezTo>
                    <a:pt x="0" y="71276"/>
                    <a:pt x="47690" y="0"/>
                    <a:pt x="150412" y="0"/>
                  </a:cubicBezTo>
                  <a:cubicBezTo>
                    <a:pt x="174468" y="0"/>
                    <a:pt x="199480" y="3714"/>
                    <a:pt x="220760" y="10682"/>
                  </a:cubicBezTo>
                  <a:lnTo>
                    <a:pt x="220760" y="52763"/>
                  </a:lnTo>
                  <a:cubicBezTo>
                    <a:pt x="195785" y="42128"/>
                    <a:pt x="169872" y="36557"/>
                    <a:pt x="144888" y="36557"/>
                  </a:cubicBezTo>
                  <a:cubicBezTo>
                    <a:pt x="75468" y="36557"/>
                    <a:pt x="45833" y="92096"/>
                    <a:pt x="45833" y="161516"/>
                  </a:cubicBezTo>
                  <a:cubicBezTo>
                    <a:pt x="45833" y="237425"/>
                    <a:pt x="79623" y="280904"/>
                    <a:pt x="147636" y="280904"/>
                  </a:cubicBezTo>
                  <a:cubicBezTo>
                    <a:pt x="170782" y="280904"/>
                    <a:pt x="200399" y="275820"/>
                    <a:pt x="224445" y="268421"/>
                  </a:cubicBezTo>
                  <a:lnTo>
                    <a:pt x="224464" y="306385"/>
                  </a:lnTo>
                  <a:lnTo>
                    <a:pt x="224464" y="30638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90C5026-4354-463E-9678-AA6F6ED72ECB}"/>
                </a:ext>
              </a:extLst>
            </p:cNvPr>
            <p:cNvSpPr/>
            <p:nvPr/>
          </p:nvSpPr>
          <p:spPr>
            <a:xfrm>
              <a:off x="8460844" y="4054289"/>
              <a:ext cx="178659" cy="312387"/>
            </a:xfrm>
            <a:custGeom>
              <a:avLst/>
              <a:gdLst>
                <a:gd name="connsiteX0" fmla="*/ 0 w 178659"/>
                <a:gd name="connsiteY0" fmla="*/ 312387 h 312387"/>
                <a:gd name="connsiteX1" fmla="*/ 0 w 178659"/>
                <a:gd name="connsiteY1" fmla="*/ 0 h 312387"/>
                <a:gd name="connsiteX2" fmla="*/ 176822 w 178659"/>
                <a:gd name="connsiteY2" fmla="*/ 0 h 312387"/>
                <a:gd name="connsiteX3" fmla="*/ 176822 w 178659"/>
                <a:gd name="connsiteY3" fmla="*/ 35179 h 312387"/>
                <a:gd name="connsiteX4" fmla="*/ 42597 w 178659"/>
                <a:gd name="connsiteY4" fmla="*/ 35179 h 312387"/>
                <a:gd name="connsiteX5" fmla="*/ 42597 w 178659"/>
                <a:gd name="connsiteY5" fmla="*/ 134196 h 312387"/>
                <a:gd name="connsiteX6" fmla="*/ 165708 w 178659"/>
                <a:gd name="connsiteY6" fmla="*/ 134196 h 312387"/>
                <a:gd name="connsiteX7" fmla="*/ 165708 w 178659"/>
                <a:gd name="connsiteY7" fmla="*/ 168447 h 312387"/>
                <a:gd name="connsiteX8" fmla="*/ 42597 w 178659"/>
                <a:gd name="connsiteY8" fmla="*/ 168447 h 312387"/>
                <a:gd name="connsiteX9" fmla="*/ 42597 w 178659"/>
                <a:gd name="connsiteY9" fmla="*/ 276740 h 312387"/>
                <a:gd name="connsiteX10" fmla="*/ 178660 w 178659"/>
                <a:gd name="connsiteY10" fmla="*/ 276740 h 312387"/>
                <a:gd name="connsiteX11" fmla="*/ 178660 w 178659"/>
                <a:gd name="connsiteY11" fmla="*/ 312387 h 312387"/>
                <a:gd name="connsiteX12" fmla="*/ 0 w 178659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59" h="312387">
                  <a:moveTo>
                    <a:pt x="0" y="312387"/>
                  </a:moveTo>
                  <a:lnTo>
                    <a:pt x="0" y="0"/>
                  </a:lnTo>
                  <a:lnTo>
                    <a:pt x="176822" y="0"/>
                  </a:lnTo>
                  <a:lnTo>
                    <a:pt x="176822" y="35179"/>
                  </a:lnTo>
                  <a:lnTo>
                    <a:pt x="42597" y="35179"/>
                  </a:lnTo>
                  <a:lnTo>
                    <a:pt x="42597" y="134196"/>
                  </a:lnTo>
                  <a:lnTo>
                    <a:pt x="165708" y="134196"/>
                  </a:lnTo>
                  <a:lnTo>
                    <a:pt x="165708" y="168447"/>
                  </a:lnTo>
                  <a:lnTo>
                    <a:pt x="42597" y="168447"/>
                  </a:lnTo>
                  <a:lnTo>
                    <a:pt x="42597" y="276740"/>
                  </a:lnTo>
                  <a:lnTo>
                    <a:pt x="178660" y="276740"/>
                  </a:lnTo>
                  <a:lnTo>
                    <a:pt x="178660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336428F-68D1-4312-B122-4EF8090DF441}"/>
                </a:ext>
              </a:extLst>
            </p:cNvPr>
            <p:cNvSpPr/>
            <p:nvPr/>
          </p:nvSpPr>
          <p:spPr>
            <a:xfrm>
              <a:off x="8804208" y="4050163"/>
              <a:ext cx="187410" cy="320668"/>
            </a:xfrm>
            <a:custGeom>
              <a:avLst/>
              <a:gdLst>
                <a:gd name="connsiteX0" fmla="*/ 163363 w 187410"/>
                <a:gd name="connsiteY0" fmla="*/ 43478 h 320668"/>
                <a:gd name="connsiteX1" fmla="*/ 106906 w 187410"/>
                <a:gd name="connsiteY1" fmla="*/ 35122 h 320668"/>
                <a:gd name="connsiteX2" fmla="*/ 43507 w 187410"/>
                <a:gd name="connsiteY2" fmla="*/ 81874 h 320668"/>
                <a:gd name="connsiteX3" fmla="*/ 187410 w 187410"/>
                <a:gd name="connsiteY3" fmla="*/ 229491 h 320668"/>
                <a:gd name="connsiteX4" fmla="*/ 74972 w 187410"/>
                <a:gd name="connsiteY4" fmla="*/ 320668 h 320668"/>
                <a:gd name="connsiteX5" fmla="*/ 4624 w 187410"/>
                <a:gd name="connsiteY5" fmla="*/ 312350 h 320668"/>
                <a:gd name="connsiteX6" fmla="*/ 4624 w 187410"/>
                <a:gd name="connsiteY6" fmla="*/ 270700 h 320668"/>
                <a:gd name="connsiteX7" fmla="*/ 77288 w 187410"/>
                <a:gd name="connsiteY7" fmla="*/ 284130 h 320668"/>
                <a:gd name="connsiteX8" fmla="*/ 143003 w 187410"/>
                <a:gd name="connsiteY8" fmla="*/ 232745 h 320668"/>
                <a:gd name="connsiteX9" fmla="*/ 0 w 187410"/>
                <a:gd name="connsiteY9" fmla="*/ 85138 h 320668"/>
                <a:gd name="connsiteX10" fmla="*/ 109700 w 187410"/>
                <a:gd name="connsiteY10" fmla="*/ 0 h 320668"/>
                <a:gd name="connsiteX11" fmla="*/ 163363 w 187410"/>
                <a:gd name="connsiteY11" fmla="*/ 5074 h 320668"/>
                <a:gd name="connsiteX12" fmla="*/ 163363 w 187410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0" h="320668">
                  <a:moveTo>
                    <a:pt x="163363" y="43478"/>
                  </a:moveTo>
                  <a:cubicBezTo>
                    <a:pt x="146735" y="38846"/>
                    <a:pt x="124940" y="35122"/>
                    <a:pt x="106906" y="35122"/>
                  </a:cubicBezTo>
                  <a:cubicBezTo>
                    <a:pt x="65265" y="35122"/>
                    <a:pt x="43507" y="52707"/>
                    <a:pt x="43507" y="81874"/>
                  </a:cubicBezTo>
                  <a:cubicBezTo>
                    <a:pt x="43507" y="150356"/>
                    <a:pt x="187410" y="126281"/>
                    <a:pt x="187410" y="229491"/>
                  </a:cubicBezTo>
                  <a:cubicBezTo>
                    <a:pt x="187410" y="281804"/>
                    <a:pt x="148123" y="320668"/>
                    <a:pt x="74972" y="320668"/>
                  </a:cubicBezTo>
                  <a:cubicBezTo>
                    <a:pt x="49509" y="320668"/>
                    <a:pt x="24047" y="317424"/>
                    <a:pt x="4624" y="312350"/>
                  </a:cubicBezTo>
                  <a:lnTo>
                    <a:pt x="4624" y="270700"/>
                  </a:lnTo>
                  <a:cubicBezTo>
                    <a:pt x="24525" y="278578"/>
                    <a:pt x="52304" y="284130"/>
                    <a:pt x="77288" y="284130"/>
                  </a:cubicBezTo>
                  <a:cubicBezTo>
                    <a:pt x="115224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81" y="0"/>
                    <a:pt x="109700" y="0"/>
                  </a:cubicBezTo>
                  <a:cubicBezTo>
                    <a:pt x="127735" y="0"/>
                    <a:pt x="146717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BF73826-5B97-4A60-87F1-70C77C2E2DC6}"/>
                </a:ext>
              </a:extLst>
            </p:cNvPr>
            <p:cNvSpPr/>
            <p:nvPr/>
          </p:nvSpPr>
          <p:spPr>
            <a:xfrm>
              <a:off x="10331125" y="2491153"/>
              <a:ext cx="760406" cy="937846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165B0A5-01CC-43B0-9B61-8A8283B54AEF}"/>
                </a:ext>
              </a:extLst>
            </p:cNvPr>
            <p:cNvSpPr/>
            <p:nvPr/>
          </p:nvSpPr>
          <p:spPr>
            <a:xfrm>
              <a:off x="9515105" y="2491153"/>
              <a:ext cx="570960" cy="937846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EF1B87B-EE30-4557-9D76-21CCE078A28B}"/>
                </a:ext>
              </a:extLst>
            </p:cNvPr>
            <p:cNvSpPr/>
            <p:nvPr/>
          </p:nvSpPr>
          <p:spPr>
            <a:xfrm>
              <a:off x="8439996" y="2477254"/>
              <a:ext cx="796653" cy="965615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6C9F49E-C3E6-4227-8F40-AF3FF8260999}"/>
                </a:ext>
              </a:extLst>
            </p:cNvPr>
            <p:cNvSpPr/>
            <p:nvPr/>
          </p:nvSpPr>
          <p:spPr>
            <a:xfrm>
              <a:off x="7472101" y="2491153"/>
              <a:ext cx="866251" cy="937846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816AAA-DD26-48B8-A735-4AE5ED45A8EC}"/>
                </a:ext>
              </a:extLst>
            </p:cNvPr>
            <p:cNvSpPr/>
            <p:nvPr/>
          </p:nvSpPr>
          <p:spPr>
            <a:xfrm>
              <a:off x="6164490" y="2491153"/>
              <a:ext cx="1265980" cy="937846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67A0922-D86D-4615-9E61-3309EEB21BCE}"/>
                </a:ext>
              </a:extLst>
            </p:cNvPr>
            <p:cNvSpPr/>
            <p:nvPr/>
          </p:nvSpPr>
          <p:spPr>
            <a:xfrm>
              <a:off x="5458470" y="2475875"/>
              <a:ext cx="596066" cy="968391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2FE960E-AD4C-4945-AC36-1E8A217B5D42}"/>
                </a:ext>
              </a:extLst>
            </p:cNvPr>
            <p:cNvSpPr/>
            <p:nvPr/>
          </p:nvSpPr>
          <p:spPr>
            <a:xfrm>
              <a:off x="4620139" y="2491153"/>
              <a:ext cx="735355" cy="937846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6CF50A-BD94-4831-A9F2-390207EA15EA}"/>
                </a:ext>
              </a:extLst>
            </p:cNvPr>
            <p:cNvSpPr/>
            <p:nvPr/>
          </p:nvSpPr>
          <p:spPr>
            <a:xfrm>
              <a:off x="3922447" y="2491153"/>
              <a:ext cx="523665" cy="937846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1F87976-CFBA-48E9-89C8-E835B18ED392}"/>
                </a:ext>
              </a:extLst>
            </p:cNvPr>
            <p:cNvSpPr/>
            <p:nvPr/>
          </p:nvSpPr>
          <p:spPr>
            <a:xfrm>
              <a:off x="2825102" y="2475885"/>
              <a:ext cx="892735" cy="96838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85F6FDF-57E1-4752-9813-05EB5B4679A3}"/>
                </a:ext>
              </a:extLst>
            </p:cNvPr>
            <p:cNvSpPr/>
            <p:nvPr/>
          </p:nvSpPr>
          <p:spPr>
            <a:xfrm>
              <a:off x="1876761" y="2491153"/>
              <a:ext cx="866260" cy="937846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A7C7BAF-9275-435B-89A2-F9D53A4BE48A}"/>
              </a:ext>
            </a:extLst>
          </p:cNvPr>
          <p:cNvGrpSpPr/>
          <p:nvPr userDrawn="1"/>
        </p:nvGrpSpPr>
        <p:grpSpPr>
          <a:xfrm>
            <a:off x="9999322" y="1"/>
            <a:ext cx="1787865" cy="666000"/>
            <a:chOff x="9999322" y="1"/>
            <a:chExt cx="1787865" cy="666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BF07612-51E1-419E-84CD-5E14274FBA41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CA3C4AFC-C4F3-49E9-A9A8-C4CAD8E4AF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999322" y="82654"/>
              <a:ext cx="1766455" cy="543600"/>
            </a:xfrm>
            <a:prstGeom prst="rect">
              <a:avLst/>
            </a:prstGeom>
          </p:spPr>
        </p:pic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pl-PL" dirty="0" err="1"/>
              <a:t>Headline</a:t>
            </a:r>
            <a:endParaRPr lang="de-DE" dirty="0"/>
          </a:p>
        </p:txBody>
      </p:sp>
      <p:sp>
        <p:nvSpPr>
          <p:cNvPr id="10" name="MSIPCMContentMarking" descr="{&quot;HashCode&quot;:-54214931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1C8925-6E93-42F2-AF60-081642F37BF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hyperlink" Target="https://apps.powerapps.com/play/e/0052827b-d138-4780-bbe8-2db5fb73d9d6/a/72af95aa-b369-41d2-878a-ab17a6ef8733?tenantId=2882be50-2012-4d88-ac86-544124e120c8" TargetMode="Externa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Die Arbeitsplatzbuchung erfolgt über </a:t>
            </a:r>
            <a:r>
              <a:rPr lang="de-DE" dirty="0" err="1"/>
              <a:t>PowerApps</a:t>
            </a:r>
            <a:r>
              <a:rPr lang="de-DE" dirty="0"/>
              <a:t>.  Dazu rufen Sie folgenden Link auf: </a:t>
            </a:r>
          </a:p>
          <a:p>
            <a:pPr marL="0" indent="0">
              <a:buNone/>
            </a:pPr>
            <a:r>
              <a:rPr lang="de-DE" sz="1800" u="sng" dirty="0" err="1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APB_WorkplaceBookingApp</a:t>
            </a:r>
            <a:r>
              <a:rPr lang="de-D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 - </a:t>
            </a:r>
            <a:r>
              <a:rPr lang="de-DE" sz="1800" u="sng" dirty="0" err="1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PowerApps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Es erscheint folgendes Fenster: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1. Klicken Sie auf Neue Buchu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69E33B-AB10-492C-A56F-519A23B315CC}" type="datetime1">
              <a:rPr lang="de-DE" smtClean="0"/>
              <a:t>06.06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rbeitsplatzbuch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F4CA43F-1462-00C7-3239-25F59E6C71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698" y="2778609"/>
            <a:ext cx="5699302" cy="310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677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E8E7F69B-2E1D-C0E1-B2BF-22335C8BCE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406399" y="1423136"/>
            <a:ext cx="8684023" cy="4895286"/>
          </a:xfrm>
        </p:spPr>
      </p:pic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69E33B-AB10-492C-A56F-519A23B315CC}" type="datetime1">
              <a:rPr lang="de-DE" smtClean="0"/>
              <a:t>06.06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rbeitsplatzbuchu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36DE249-43EC-E991-A742-34EDA228D016}"/>
              </a:ext>
            </a:extLst>
          </p:cNvPr>
          <p:cNvSpPr txBox="1"/>
          <p:nvPr/>
        </p:nvSpPr>
        <p:spPr>
          <a:xfrm>
            <a:off x="451738" y="1119482"/>
            <a:ext cx="8609883" cy="5260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450"/>
              </a:spcAft>
            </a:pPr>
            <a:r>
              <a:rPr lang="de-DE" sz="1400" dirty="0"/>
              <a:t>2. Befüllen Sie die Felder in der Maske</a:t>
            </a:r>
          </a:p>
        </p:txBody>
      </p:sp>
    </p:spTree>
    <p:extLst>
      <p:ext uri="{BB962C8B-B14F-4D97-AF65-F5344CB8AC3E}">
        <p14:creationId xmlns:p14="http://schemas.microsoft.com/office/powerpoint/2010/main" val="2454202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221707D-3A8A-1E9E-639D-3FB80285F4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3. Mit Hilfe des Raumplans können Sie einen Sitzplatz auswählen.  Zuvor müssen alle Felder bis zur Etage befüllt werden. </a:t>
            </a:r>
          </a:p>
          <a:p>
            <a:pPr marL="0" indent="0">
              <a:buNone/>
            </a:pPr>
            <a:r>
              <a:rPr lang="de-DE" dirty="0"/>
              <a:t>									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03BD7A-08E6-21BF-F4D8-E0599B8BFDA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841347-BADE-46D4-BE0A-DBB100407CD0}" type="datetime1">
              <a:rPr lang="de-DE" smtClean="0"/>
              <a:t>07.06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DE2F2B-76DE-D24D-AB34-5C9AB9F759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5209FC-9CE6-02C5-2EB4-B28C6E83E8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B5AFAD5-D967-4364-F950-26A6706A9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rbeitsplatzbuchun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B3EBED1-AFC0-FFF9-9E9B-55F95DB3E5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812" y="2174173"/>
            <a:ext cx="7297566" cy="3749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206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221707D-3A8A-1E9E-639D-3FB80285F4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AutoNum type="arabicPeriod" startAt="4"/>
            </a:pPr>
            <a:r>
              <a:rPr lang="de-DE" dirty="0"/>
              <a:t>Beispiel Raumplan: </a:t>
            </a:r>
          </a:p>
          <a:p>
            <a:pPr marL="0" indent="0">
              <a:buNone/>
            </a:pPr>
            <a:r>
              <a:rPr lang="de-DE" dirty="0"/>
              <a:t>						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03BD7A-08E6-21BF-F4D8-E0599B8BFDA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841347-BADE-46D4-BE0A-DBB100407CD0}" type="datetime1">
              <a:rPr lang="de-DE" smtClean="0"/>
              <a:t>07.06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DE2F2B-76DE-D24D-AB34-5C9AB9F759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5209FC-9CE6-02C5-2EB4-B28C6E83E8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B5AFAD5-D967-4364-F950-26A6706A9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rbeitsplatzbuchun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B626F80-2241-1584-D246-309342B75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211" y="1809564"/>
            <a:ext cx="8724827" cy="349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923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47B3EA7-868A-3F3B-FDCD-A176293B0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5. Geben Sie nun den ausgewählten Sitzplatz in die Maske ein und klicken Sie anschließend auf Buchen.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C02F69C-46A5-1296-9764-6C9C9B2553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841347-BADE-46D4-BE0A-DBB100407CD0}" type="datetime1">
              <a:rPr lang="de-DE" smtClean="0"/>
              <a:t>07.06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23D4C5-F009-C93A-4996-6DF2B32A64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59CBEFE-EC53-A550-EAF2-F5432BBA6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62BEB65-3431-1C19-9278-51E98ABA1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rbeitsplatzbuch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68F7BCB-C239-A1E8-F9F2-4A3B64D924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153" y="1760111"/>
            <a:ext cx="8467517" cy="46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7552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2975D360-8ACF-2B5A-6918-E71A9A03DF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3575" y="2139646"/>
            <a:ext cx="4285724" cy="3201613"/>
          </a:xfr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5F178F-EDEB-42DC-1EDC-D05D57CDD52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841347-BADE-46D4-BE0A-DBB100407CD0}" type="datetime1">
              <a:rPr lang="de-DE" smtClean="0"/>
              <a:t>07.06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70F8345-0601-2887-E6E5-5AAD8A6B72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16DE7C-9C7A-EFE4-A4C2-F5943F2C6C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U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D1395D4-DF81-AA9D-1580-E37250C95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rbeitsplatzbuchu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B78E630-0B67-E5ED-EE35-893DBE644159}"/>
              </a:ext>
            </a:extLst>
          </p:cNvPr>
          <p:cNvSpPr txBox="1"/>
          <p:nvPr/>
        </p:nvSpPr>
        <p:spPr>
          <a:xfrm>
            <a:off x="623575" y="1351005"/>
            <a:ext cx="11339125" cy="89724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342900" indent="-342900" algn="l">
              <a:lnSpc>
                <a:spcPct val="110000"/>
              </a:lnSpc>
              <a:spcAft>
                <a:spcPts val="450"/>
              </a:spcAft>
              <a:buAutoNum type="arabicPeriod" startAt="6"/>
            </a:pPr>
            <a:r>
              <a:rPr lang="de-DE" sz="1400" dirty="0"/>
              <a:t>Ihre Arbeitsplatzbuchung wird bestätigt:			7. Anschließend kommen Sie zurück auf die Startseite.</a:t>
            </a:r>
            <a:br>
              <a:rPr lang="de-DE" sz="1400" dirty="0"/>
            </a:br>
            <a:r>
              <a:rPr lang="de-DE" sz="1400" dirty="0"/>
              <a:t>						     Hier können Sie unter „Deine Buchungen“ und dem Reiter </a:t>
            </a:r>
            <a:br>
              <a:rPr lang="de-DE" sz="1400" dirty="0"/>
            </a:br>
            <a:r>
              <a:rPr lang="de-DE" sz="1400" dirty="0"/>
              <a:t>						    „bevorstehende Buchungen“ die Arbeitsplatzbuchung einsehen.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156E9C9-96E3-90F9-F023-C38BB1077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221" y="2248251"/>
            <a:ext cx="6407479" cy="381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082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tMnjwJ3pAdpUcAVx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AG_Master_16x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olkswagen Group Services">
      <a:majorFont>
        <a:latin typeface="VWAG TheSans"/>
        <a:ea typeface=""/>
        <a:cs typeface=""/>
      </a:majorFont>
      <a:minorFont>
        <a:latin typeface="VWAG The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Template VWGS.pptx  -  Schreibgeschützt" id="{97E2AD93-4D49-4E03-83E9-F0D6A315EB93}" vid="{5FCF007F-8CF1-4929-A9C4-B0BF0737AE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C6C90B-2593-C24F-BAA4-0B8B60F982AE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4B2A571F0B54F8D2301D444E7FD64" ma:contentTypeVersion="15" ma:contentTypeDescription="Create a new document." ma:contentTypeScope="" ma:versionID="f3cd1785d21d909952a134ea151d7d1d">
  <xsd:schema xmlns:xsd="http://www.w3.org/2001/XMLSchema" xmlns:xs="http://www.w3.org/2001/XMLSchema" xmlns:p="http://schemas.microsoft.com/office/2006/metadata/properties" xmlns:ns2="363f774c-69d5-4a75-a662-6105bd951a0d" xmlns:ns3="dfc59f7a-37a9-489d-9c43-9cc60545c307" targetNamespace="http://schemas.microsoft.com/office/2006/metadata/properties" ma:root="true" ma:fieldsID="eef31f94189f062432b9b0201a3f1d5a" ns2:_="" ns3:_="">
    <xsd:import namespace="363f774c-69d5-4a75-a662-6105bd951a0d"/>
    <xsd:import namespace="dfc59f7a-37a9-489d-9c43-9cc60545c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p27e2d46ba66445785b95d2ee753c8d8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f774c-69d5-4a75-a662-6105bd951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59f7a-37a9-489d-9c43-9cc60545c307" elementFormDefault="qualified">
    <xsd:import namespace="http://schemas.microsoft.com/office/2006/documentManagement/types"/>
    <xsd:import namespace="http://schemas.microsoft.com/office/infopath/2007/PartnerControls"/>
    <xsd:element name="p27e2d46ba66445785b95d2ee753c8d8" ma:index="10" nillable="true" ma:taxonomy="true" ma:internalName="p27e2d46ba66445785b95d2ee753c8d8" ma:taxonomyFieldName="LegalHoldTag" ma:displayName="LegalHold" ma:fieldId="{927e2d46-ba66-4457-85b9-5d2ee753c8d8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8a6a9f91-6fb2-4337-95eb-b23bf5b41784}" ma:internalName="TaxCatchAll" ma:showField="CatchAllData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8a6a9f91-6fb2-4337-95eb-b23bf5b41784}" ma:internalName="TaxCatchAllLabel" ma:readOnly="true" ma:showField="CatchAllDataLabel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5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MDocumentOwner xmlns="dfc59f7a-37a9-489d-9c43-9cc60545c307">
      <UserInfo>
        <DisplayName/>
        <AccountId xsi:nil="true"/>
        <AccountType/>
      </UserInfo>
    </RevIMDocumentOwner>
    <p27e2d46ba66445785b95d2ee753c8d8 xmlns="dfc59f7a-37a9-489d-9c43-9cc60545c307">
      <Terms xmlns="http://schemas.microsoft.com/office/infopath/2007/PartnerControls"/>
    </p27e2d46ba66445785b95d2ee753c8d8>
    <TaxCatchAll xmlns="dfc59f7a-37a9-489d-9c43-9cc60545c307">
      <Value>7</Value>
    </TaxCatchAll>
    <lcf76f155ced4ddcb4097134ff3c332f xmlns="363f774c-69d5-4a75-a662-6105bd951a0d">
      <Terms xmlns="http://schemas.microsoft.com/office/infopath/2007/PartnerControls"/>
    </lcf76f155ced4ddcb4097134ff3c332f>
    <i0f84bba906045b4af568ee102a52dcb xmlns="dfc59f7a-37a9-489d-9c43-9cc60545c3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0.1 Long-term HR documents</TermName>
          <TermId xmlns="http://schemas.microsoft.com/office/infopath/2007/PartnerControls">b08d2dd9-dca0-46d6-9f78-da3ed92e22b8</TermId>
        </TermInfo>
      </Terms>
    </i0f84bba906045b4af568ee102a52dcb>
    <RevIMComments xmlns="dfc59f7a-37a9-489d-9c43-9cc60545c307" xsi:nil="true"/>
    <RevIMDeletionDate xmlns="dfc59f7a-37a9-489d-9c43-9cc60545c307">2150-06-07T10:14:22+00:00</RevIMDeletionDate>
    <RevIMExtends xmlns="dfc59f7a-37a9-489d-9c43-9cc60545c307">{"Classified":"2023-06-07T10:14:58.394Z","KSUClass":"b08d2dd9-dca0-46d6-9f78-da3ed92e22b8"}</RevIMExtends>
    <RevIMEventDate xmlns="dfc59f7a-37a9-489d-9c43-9cc60545c307" xsi:nil="true"/>
  </documentManagement>
</p:properties>
</file>

<file path=customXml/itemProps1.xml><?xml version="1.0" encoding="utf-8"?>
<ds:datastoreItem xmlns:ds="http://schemas.openxmlformats.org/officeDocument/2006/customXml" ds:itemID="{79131A45-D74B-4C41-A497-21950EFD6F0D}"/>
</file>

<file path=customXml/itemProps2.xml><?xml version="1.0" encoding="utf-8"?>
<ds:datastoreItem xmlns:ds="http://schemas.openxmlformats.org/officeDocument/2006/customXml" ds:itemID="{E24F3165-A204-43BB-B91D-D7FC82F02C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BF8FA2-DA35-4B7D-B8A0-1669E07BF73F}">
  <ds:schemaRefs>
    <ds:schemaRef ds:uri="http://purl.org/dc/elements/1.1/"/>
    <ds:schemaRef ds:uri="http://schemas.microsoft.com/office/2006/metadata/properties"/>
    <ds:schemaRef ds:uri="a9b63aa0-461a-4277-bcb9-a7f2ca0bf306"/>
    <ds:schemaRef ds:uri="http://purl.org/dc/terms/"/>
    <ds:schemaRef ds:uri="a78588c1-9347-4160-bb7e-a145b426ad08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3</Words>
  <Application>Microsoft Office PowerPoint</Application>
  <PresentationFormat>Breitbild</PresentationFormat>
  <Paragraphs>47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Calibri</vt:lpstr>
      <vt:lpstr>Symbol</vt:lpstr>
      <vt:lpstr>VWAG TheSans</vt:lpstr>
      <vt:lpstr>VWAG TheSans Light</vt:lpstr>
      <vt:lpstr>VWAG_Master_16x9</vt:lpstr>
      <vt:lpstr>think-cell Slide</vt:lpstr>
      <vt:lpstr>Anleitung Arbeitsplatzbuchung</vt:lpstr>
      <vt:lpstr>Anleitung Arbeitsplatzbuchung</vt:lpstr>
      <vt:lpstr>Anleitung Arbeitsplatzbuchung</vt:lpstr>
      <vt:lpstr>Anleitung Arbeitsplatzbuchung</vt:lpstr>
      <vt:lpstr>Anleitung Arbeitsplatzbuchung</vt:lpstr>
      <vt:lpstr>Anleitung Arbeitsplatzbuchu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Consulting</dc:title>
  <dc:creator>Falk Bothe</dc:creator>
  <cp:lastModifiedBy>Ihlo, Denise (A-GSFE)</cp:lastModifiedBy>
  <cp:revision>1509</cp:revision>
  <dcterms:created xsi:type="dcterms:W3CDTF">2020-02-23T20:19:55Z</dcterms:created>
  <dcterms:modified xsi:type="dcterms:W3CDTF">2023-06-07T10:13:57Z</dcterms:modified>
  <cp:category>0.1 Initialklass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C4B2A571F0B54F8D2301D444E7FD64</vt:lpwstr>
  </property>
  <property fmtid="{D5CDD505-2E9C-101B-9397-08002B2CF9AE}" pid="3" name="RevIMBCS">
    <vt:lpwstr>7;#10.1 Long-term HR documents|b08d2dd9-dca0-46d6-9f78-da3ed92e22b8</vt:lpwstr>
  </property>
  <property fmtid="{D5CDD505-2E9C-101B-9397-08002B2CF9AE}" pid="4" name="LegalHoldTag">
    <vt:lpwstr/>
  </property>
  <property fmtid="{D5CDD505-2E9C-101B-9397-08002B2CF9AE}" pid="5" name="MSIP_Label_b1c9b508-7c6e-42bd-bedf-808292653d6c_Enabled">
    <vt:lpwstr>true</vt:lpwstr>
  </property>
  <property fmtid="{D5CDD505-2E9C-101B-9397-08002B2CF9AE}" pid="6" name="MSIP_Label_b1c9b508-7c6e-42bd-bedf-808292653d6c_SetDate">
    <vt:lpwstr>2023-06-07T10:13:43Z</vt:lpwstr>
  </property>
  <property fmtid="{D5CDD505-2E9C-101B-9397-08002B2CF9AE}" pid="7" name="MSIP_Label_b1c9b508-7c6e-42bd-bedf-808292653d6c_Method">
    <vt:lpwstr>Standard</vt:lpwstr>
  </property>
  <property fmtid="{D5CDD505-2E9C-101B-9397-08002B2CF9AE}" pid="8" name="MSIP_Label_b1c9b508-7c6e-42bd-bedf-808292653d6c_Name">
    <vt:lpwstr>b1c9b508-7c6e-42bd-bedf-808292653d6c</vt:lpwstr>
  </property>
  <property fmtid="{D5CDD505-2E9C-101B-9397-08002B2CF9AE}" pid="9" name="MSIP_Label_b1c9b508-7c6e-42bd-bedf-808292653d6c_SiteId">
    <vt:lpwstr>2882be50-2012-4d88-ac86-544124e120c8</vt:lpwstr>
  </property>
  <property fmtid="{D5CDD505-2E9C-101B-9397-08002B2CF9AE}" pid="10" name="MSIP_Label_b1c9b508-7c6e-42bd-bedf-808292653d6c_ActionId">
    <vt:lpwstr>8e0e116b-2fe8-4cb5-b58d-44c9e5be1e77</vt:lpwstr>
  </property>
  <property fmtid="{D5CDD505-2E9C-101B-9397-08002B2CF9AE}" pid="11" name="MSIP_Label_b1c9b508-7c6e-42bd-bedf-808292653d6c_ContentBits">
    <vt:lpwstr>3</vt:lpwstr>
  </property>
  <property fmtid="{D5CDD505-2E9C-101B-9397-08002B2CF9AE}" pid="12" name="MediaServiceImageTags">
    <vt:lpwstr/>
  </property>
</Properties>
</file>